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charts/chart4.xml" ContentType="application/vnd.openxmlformats-officedocument.drawingml.chart+xml"/>
  <Override PartName="/ppt/theme/themeOverride1.xml" ContentType="application/vnd.openxmlformats-officedocument.themeOverr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charts/chart5.xml" ContentType="application/vnd.openxmlformats-officedocument.drawingml.chart+xml"/>
  <Override PartName="/ppt/theme/themeOverride2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</p:sldMasterIdLst>
  <p:notesMasterIdLst>
    <p:notesMasterId r:id="rId14"/>
  </p:notesMasterIdLst>
  <p:handoutMasterIdLst>
    <p:handoutMasterId r:id="rId15"/>
  </p:handoutMasterIdLst>
  <p:sldIdLst>
    <p:sldId id="1277" r:id="rId3"/>
    <p:sldId id="1293" r:id="rId4"/>
    <p:sldId id="1294" r:id="rId5"/>
    <p:sldId id="1296" r:id="rId6"/>
    <p:sldId id="1300" r:id="rId7"/>
    <p:sldId id="1304" r:id="rId8"/>
    <p:sldId id="1305" r:id="rId9"/>
    <p:sldId id="1306" r:id="rId10"/>
    <p:sldId id="1303" r:id="rId11"/>
    <p:sldId id="1308" r:id="rId12"/>
    <p:sldId id="1307" r:id="rId13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300"/>
            <p14:sldId id="1304"/>
            <p14:sldId id="1305"/>
            <p14:sldId id="1306"/>
            <p14:sldId id="1303"/>
            <p14:sldId id="1308"/>
            <p14:sldId id="1307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CD61"/>
    <a:srgbClr val="F2F2F2"/>
    <a:srgbClr val="D31145"/>
    <a:srgbClr val="6A491C"/>
    <a:srgbClr val="00FF00"/>
    <a:srgbClr val="4D7FBC"/>
    <a:srgbClr val="FFF1C2"/>
    <a:srgbClr val="9BBB59"/>
    <a:srgbClr val="C050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076" autoAdjust="0"/>
    <p:restoredTop sz="94548" autoAdjust="0"/>
  </p:normalViewPr>
  <p:slideViewPr>
    <p:cSldViewPr snapToGrid="0">
      <p:cViewPr varScale="1">
        <p:scale>
          <a:sx n="109" d="100"/>
          <a:sy n="109" d="100"/>
        </p:scale>
        <p:origin x="894" y="9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3.xlsx"/><Relationship Id="rId1" Type="http://schemas.openxmlformats.org/officeDocument/2006/relationships/themeOverride" Target="../theme/themeOverride1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4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9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85D-4210-8188-95336DAD99A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český kraj</c:v>
                </c:pt>
                <c:pt idx="2">
                  <c:v>Středočeský kraj</c:v>
                </c:pt>
                <c:pt idx="3">
                  <c:v>Zlínský kraj</c:v>
                </c:pt>
                <c:pt idx="4">
                  <c:v>Plzeňský kraj</c:v>
                </c:pt>
                <c:pt idx="5">
                  <c:v>Jihomoravský kraj</c:v>
                </c:pt>
                <c:pt idx="6">
                  <c:v>Liberecký kraj</c:v>
                </c:pt>
                <c:pt idx="7">
                  <c:v>Olomoucký kraj</c:v>
                </c:pt>
                <c:pt idx="8">
                  <c:v>Ústecký kraj</c:v>
                </c:pt>
                <c:pt idx="9">
                  <c:v>ČR</c:v>
                </c:pt>
                <c:pt idx="10">
                  <c:v>Moravskoslezský kraj</c:v>
                </c:pt>
                <c:pt idx="11">
                  <c:v>Pardubický kraj</c:v>
                </c:pt>
                <c:pt idx="12">
                  <c:v>Královéhradecký kraj</c:v>
                </c:pt>
                <c:pt idx="13">
                  <c:v>Karlovars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57575757575700004</c:v>
                </c:pt>
                <c:pt idx="1">
                  <c:v>0.50340136054399998</c:v>
                </c:pt>
                <c:pt idx="2">
                  <c:v>0.49572649572600003</c:v>
                </c:pt>
                <c:pt idx="3">
                  <c:v>0.4921875</c:v>
                </c:pt>
                <c:pt idx="4">
                  <c:v>0.41125541125499998</c:v>
                </c:pt>
                <c:pt idx="5">
                  <c:v>0.38144329896899998</c:v>
                </c:pt>
                <c:pt idx="6">
                  <c:v>0.37</c:v>
                </c:pt>
                <c:pt idx="7">
                  <c:v>0.34499999999999997</c:v>
                </c:pt>
                <c:pt idx="8">
                  <c:v>0.34251968503899999</c:v>
                </c:pt>
                <c:pt idx="9">
                  <c:v>0.32835820895500001</c:v>
                </c:pt>
                <c:pt idx="10">
                  <c:v>0.32786885245899999</c:v>
                </c:pt>
                <c:pt idx="11">
                  <c:v>0.312</c:v>
                </c:pt>
                <c:pt idx="12">
                  <c:v>0.29646017699100002</c:v>
                </c:pt>
                <c:pt idx="13">
                  <c:v>0.24096385542099999</c:v>
                </c:pt>
                <c:pt idx="14">
                  <c:v>0.143405889883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9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187C-4B26-A62C-8D83AD58094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Kraj Vysočina</c:v>
                </c:pt>
                <c:pt idx="2">
                  <c:v>Jihočeský kraj</c:v>
                </c:pt>
                <c:pt idx="3">
                  <c:v>Středočeský kraj</c:v>
                </c:pt>
                <c:pt idx="4">
                  <c:v>Ústecký kraj</c:v>
                </c:pt>
                <c:pt idx="5">
                  <c:v>Jihomoravský kraj</c:v>
                </c:pt>
                <c:pt idx="6">
                  <c:v>Plzeňský kraj</c:v>
                </c:pt>
                <c:pt idx="7">
                  <c:v>Olomoucký kraj</c:v>
                </c:pt>
                <c:pt idx="8">
                  <c:v>Liberecký kraj</c:v>
                </c:pt>
                <c:pt idx="9">
                  <c:v>ČR</c:v>
                </c:pt>
                <c:pt idx="10">
                  <c:v>Moravskoslezský kraj</c:v>
                </c:pt>
                <c:pt idx="11">
                  <c:v>Karlovarský kraj</c:v>
                </c:pt>
                <c:pt idx="12">
                  <c:v>Královéhradecký kraj</c:v>
                </c:pt>
                <c:pt idx="13">
                  <c:v>Pardubic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47297297297200003</c:v>
                </c:pt>
                <c:pt idx="1">
                  <c:v>0.43548387096699998</c:v>
                </c:pt>
                <c:pt idx="2">
                  <c:v>0.390625</c:v>
                </c:pt>
                <c:pt idx="3">
                  <c:v>0.38260869565200001</c:v>
                </c:pt>
                <c:pt idx="4">
                  <c:v>0.33043478260800002</c:v>
                </c:pt>
                <c:pt idx="5">
                  <c:v>0.325123152709</c:v>
                </c:pt>
                <c:pt idx="6">
                  <c:v>0.306569343065</c:v>
                </c:pt>
                <c:pt idx="7">
                  <c:v>0.303225806451</c:v>
                </c:pt>
                <c:pt idx="8">
                  <c:v>0.25316455696200002</c:v>
                </c:pt>
                <c:pt idx="9">
                  <c:v>0.25161933233599998</c:v>
                </c:pt>
                <c:pt idx="10">
                  <c:v>0.24919093851099999</c:v>
                </c:pt>
                <c:pt idx="11">
                  <c:v>0.18604651162700001</c:v>
                </c:pt>
                <c:pt idx="12">
                  <c:v>0.184</c:v>
                </c:pt>
                <c:pt idx="13">
                  <c:v>0.14035087719200001</c:v>
                </c:pt>
                <c:pt idx="14">
                  <c:v>9.594882729199999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B73-42C7-B0A5-249A45A05BD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Kraj Vysočina</c:v>
                </c:pt>
                <c:pt idx="2">
                  <c:v>Jihočeský kraj</c:v>
                </c:pt>
                <c:pt idx="3">
                  <c:v>Pardubický kraj</c:v>
                </c:pt>
                <c:pt idx="4">
                  <c:v>Plzeňský kraj</c:v>
                </c:pt>
                <c:pt idx="5">
                  <c:v>Olomoucký kraj</c:v>
                </c:pt>
                <c:pt idx="6">
                  <c:v>Ústecký kraj</c:v>
                </c:pt>
                <c:pt idx="7">
                  <c:v>Jihomoravský kraj</c:v>
                </c:pt>
                <c:pt idx="8">
                  <c:v>ČR</c:v>
                </c:pt>
                <c:pt idx="9">
                  <c:v>Zlínský kraj</c:v>
                </c:pt>
                <c:pt idx="10">
                  <c:v>Karlovarský kraj</c:v>
                </c:pt>
                <c:pt idx="11">
                  <c:v>Středočeský kraj</c:v>
                </c:pt>
                <c:pt idx="12">
                  <c:v>Moravskoslezský kraj</c:v>
                </c:pt>
                <c:pt idx="13">
                  <c:v>Hlavní město Praha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37695078031200002</c:v>
                </c:pt>
                <c:pt idx="1">
                  <c:v>0.37315130830400001</c:v>
                </c:pt>
                <c:pt idx="2">
                  <c:v>0.30293757649899999</c:v>
                </c:pt>
                <c:pt idx="3">
                  <c:v>0.30209481808100003</c:v>
                </c:pt>
                <c:pt idx="4">
                  <c:v>0.28783382789299999</c:v>
                </c:pt>
                <c:pt idx="5">
                  <c:v>0.28282168517299999</c:v>
                </c:pt>
                <c:pt idx="6">
                  <c:v>0.272789115646</c:v>
                </c:pt>
                <c:pt idx="7">
                  <c:v>0.25554259043100003</c:v>
                </c:pt>
                <c:pt idx="8">
                  <c:v>0.24366964480200001</c:v>
                </c:pt>
                <c:pt idx="9">
                  <c:v>0.23101952277599999</c:v>
                </c:pt>
                <c:pt idx="10">
                  <c:v>0.208133971291</c:v>
                </c:pt>
                <c:pt idx="11">
                  <c:v>0.192560175054</c:v>
                </c:pt>
                <c:pt idx="12">
                  <c:v>0.189801699716</c:v>
                </c:pt>
                <c:pt idx="13">
                  <c:v>0.166718701217</c:v>
                </c:pt>
                <c:pt idx="14">
                  <c:v>0.1131520940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63</c:v>
                </c:pt>
                <c:pt idx="1">
                  <c:v>66</c:v>
                </c:pt>
                <c:pt idx="2">
                  <c:v>64</c:v>
                </c:pt>
                <c:pt idx="3">
                  <c:v>61</c:v>
                </c:pt>
                <c:pt idx="4">
                  <c:v>69</c:v>
                </c:pt>
                <c:pt idx="5">
                  <c:v>92</c:v>
                </c:pt>
                <c:pt idx="6">
                  <c:v>97</c:v>
                </c:pt>
                <c:pt idx="7">
                  <c:v>102</c:v>
                </c:pt>
                <c:pt idx="8">
                  <c:v>113</c:v>
                </c:pt>
                <c:pt idx="9">
                  <c:v>117</c:v>
                </c:pt>
                <c:pt idx="10">
                  <c:v>115</c:v>
                </c:pt>
                <c:pt idx="11">
                  <c:v>127</c:v>
                </c:pt>
                <c:pt idx="12">
                  <c:v>157</c:v>
                </c:pt>
                <c:pt idx="13">
                  <c:v>164</c:v>
                </c:pt>
                <c:pt idx="14">
                  <c:v>168</c:v>
                </c:pt>
                <c:pt idx="15">
                  <c:v>166</c:v>
                </c:pt>
                <c:pt idx="16">
                  <c:v>182</c:v>
                </c:pt>
                <c:pt idx="17">
                  <c:v>161</c:v>
                </c:pt>
                <c:pt idx="18">
                  <c:v>164</c:v>
                </c:pt>
                <c:pt idx="19">
                  <c:v>185</c:v>
                </c:pt>
                <c:pt idx="20">
                  <c:v>180</c:v>
                </c:pt>
                <c:pt idx="21">
                  <c:v>182</c:v>
                </c:pt>
                <c:pt idx="22">
                  <c:v>183</c:v>
                </c:pt>
                <c:pt idx="23">
                  <c:v>188</c:v>
                </c:pt>
                <c:pt idx="24">
                  <c:v>188</c:v>
                </c:pt>
                <c:pt idx="25">
                  <c:v>197</c:v>
                </c:pt>
                <c:pt idx="26">
                  <c:v>229</c:v>
                </c:pt>
                <c:pt idx="27">
                  <c:v>226</c:v>
                </c:pt>
                <c:pt idx="28">
                  <c:v>253</c:v>
                </c:pt>
                <c:pt idx="29">
                  <c:v>251</c:v>
                </c:pt>
                <c:pt idx="30">
                  <c:v>244</c:v>
                </c:pt>
                <c:pt idx="31">
                  <c:v>234</c:v>
                </c:pt>
                <c:pt idx="32">
                  <c:v>247</c:v>
                </c:pt>
                <c:pt idx="33">
                  <c:v>302</c:v>
                </c:pt>
                <c:pt idx="34">
                  <c:v>302</c:v>
                </c:pt>
                <c:pt idx="35">
                  <c:v>326</c:v>
                </c:pt>
                <c:pt idx="36">
                  <c:v>316</c:v>
                </c:pt>
                <c:pt idx="37">
                  <c:v>344</c:v>
                </c:pt>
                <c:pt idx="38">
                  <c:v>333</c:v>
                </c:pt>
                <c:pt idx="39">
                  <c:v>350</c:v>
                </c:pt>
                <c:pt idx="40">
                  <c:v>425</c:v>
                </c:pt>
                <c:pt idx="41">
                  <c:v>444</c:v>
                </c:pt>
                <c:pt idx="42">
                  <c:v>470</c:v>
                </c:pt>
                <c:pt idx="43">
                  <c:v>496</c:v>
                </c:pt>
                <c:pt idx="44">
                  <c:v>526</c:v>
                </c:pt>
                <c:pt idx="45">
                  <c:v>515</c:v>
                </c:pt>
                <c:pt idx="46">
                  <c:v>541</c:v>
                </c:pt>
                <c:pt idx="47">
                  <c:v>662</c:v>
                </c:pt>
                <c:pt idx="48">
                  <c:v>725</c:v>
                </c:pt>
                <c:pt idx="49">
                  <c:v>796</c:v>
                </c:pt>
                <c:pt idx="50">
                  <c:v>839</c:v>
                </c:pt>
                <c:pt idx="51">
                  <c:v>920</c:v>
                </c:pt>
                <c:pt idx="52">
                  <c:v>928</c:v>
                </c:pt>
                <c:pt idx="53">
                  <c:v>991</c:v>
                </c:pt>
                <c:pt idx="54">
                  <c:v>1173</c:v>
                </c:pt>
                <c:pt idx="55">
                  <c:v>1294</c:v>
                </c:pt>
                <c:pt idx="56">
                  <c:v>1395</c:v>
                </c:pt>
                <c:pt idx="57">
                  <c:v>1389</c:v>
                </c:pt>
                <c:pt idx="58">
                  <c:v>1574</c:v>
                </c:pt>
                <c:pt idx="59">
                  <c:v>1593</c:v>
                </c:pt>
                <c:pt idx="60">
                  <c:v>1726</c:v>
                </c:pt>
                <c:pt idx="61">
                  <c:v>2098</c:v>
                </c:pt>
                <c:pt idx="62">
                  <c:v>2276</c:v>
                </c:pt>
                <c:pt idx="63">
                  <c:v>2473</c:v>
                </c:pt>
                <c:pt idx="64">
                  <c:v>2636</c:v>
                </c:pt>
                <c:pt idx="65">
                  <c:v>2739</c:v>
                </c:pt>
                <c:pt idx="66">
                  <c:v>2754</c:v>
                </c:pt>
                <c:pt idx="67">
                  <c:v>2889</c:v>
                </c:pt>
                <c:pt idx="68">
                  <c:v>30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299.0102070550962</c:v>
                </c:pt>
                <c:pt idx="50">
                  <c:v>300.04967971226552</c:v>
                </c:pt>
                <c:pt idx="51">
                  <c:v>300.93125675521037</c:v>
                </c:pt>
                <c:pt idx="52">
                  <c:v>301.6800788969137</c:v>
                </c:pt>
                <c:pt idx="53">
                  <c:v>302.31889086426099</c:v>
                </c:pt>
                <c:pt idx="54">
                  <c:v>302.86536250535784</c:v>
                </c:pt>
                <c:pt idx="55">
                  <c:v>303.33290662105446</c:v>
                </c:pt>
                <c:pt idx="56">
                  <c:v>303.73279179141036</c:v>
                </c:pt>
                <c:pt idx="57">
                  <c:v>304.07349306182334</c:v>
                </c:pt>
                <c:pt idx="58">
                  <c:v>304.36376978190702</c:v>
                </c:pt>
                <c:pt idx="59">
                  <c:v>304.61108489793344</c:v>
                </c:pt>
                <c:pt idx="60">
                  <c:v>304.82179682342826</c:v>
                </c:pt>
                <c:pt idx="61">
                  <c:v>305.0013229124886</c:v>
                </c:pt>
                <c:pt idx="62">
                  <c:v>305.15427873868407</c:v>
                </c:pt>
                <c:pt idx="63">
                  <c:v>305.2845967603688</c:v>
                </c:pt>
                <c:pt idx="64">
                  <c:v>305.39562742326177</c:v>
                </c:pt>
                <c:pt idx="65">
                  <c:v>305.490225299619</c:v>
                </c:pt>
                <c:pt idx="66">
                  <c:v>305.57082247861558</c:v>
                </c:pt>
                <c:pt idx="67">
                  <c:v>305.63949109478699</c:v>
                </c:pt>
                <c:pt idx="68">
                  <c:v>305.69799660212112</c:v>
                </c:pt>
                <c:pt idx="69">
                  <c:v>305.74784316346552</c:v>
                </c:pt>
                <c:pt idx="70">
                  <c:v>305.7903123222008</c:v>
                </c:pt>
                <c:pt idx="71">
                  <c:v>305.82649595041983</c:v>
                </c:pt>
                <c:pt idx="72">
                  <c:v>305.85732432070267</c:v>
                </c:pt>
                <c:pt idx="73">
                  <c:v>305.88359002320612</c:v>
                </c:pt>
                <c:pt idx="74">
                  <c:v>305.905968342970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367.89825866734782</c:v>
                </c:pt>
                <c:pt idx="50">
                  <c:v>376.26277110258656</c:v>
                </c:pt>
                <c:pt idx="51">
                  <c:v>384.69461763221273</c:v>
                </c:pt>
                <c:pt idx="52">
                  <c:v>393.20365804253322</c:v>
                </c:pt>
                <c:pt idx="53">
                  <c:v>401.79758002260263</c:v>
                </c:pt>
                <c:pt idx="54">
                  <c:v>410.48249692032471</c:v>
                </c:pt>
                <c:pt idx="55">
                  <c:v>419.26248568004587</c:v>
                </c:pt>
                <c:pt idx="56">
                  <c:v>428.14055613985568</c:v>
                </c:pt>
                <c:pt idx="57">
                  <c:v>437.11919200648487</c:v>
                </c:pt>
                <c:pt idx="58">
                  <c:v>446.19953242397321</c:v>
                </c:pt>
                <c:pt idx="59">
                  <c:v>455.38272943989443</c:v>
                </c:pt>
                <c:pt idx="60">
                  <c:v>464.66994815151963</c:v>
                </c:pt>
                <c:pt idx="61">
                  <c:v>474.06236685363638</c:v>
                </c:pt>
                <c:pt idx="62">
                  <c:v>483.56117718804217</c:v>
                </c:pt>
                <c:pt idx="63">
                  <c:v>493.16758429473128</c:v>
                </c:pt>
                <c:pt idx="64">
                  <c:v>502.88280696479421</c:v>
                </c:pt>
                <c:pt idx="65">
                  <c:v>512.70807779504901</c:v>
                </c:pt>
                <c:pt idx="66">
                  <c:v>522.64464334442414</c:v>
                </c:pt>
                <c:pt idx="67">
                  <c:v>532.69376429211286</c:v>
                </c:pt>
                <c:pt idx="68">
                  <c:v>542.85671559751904</c:v>
                </c:pt>
                <c:pt idx="69">
                  <c:v>553.13478666201479</c:v>
                </c:pt>
                <c:pt idx="70">
                  <c:v>563.52928149253023</c:v>
                </c:pt>
                <c:pt idx="71">
                  <c:v>574.04151886699651</c:v>
                </c:pt>
                <c:pt idx="72">
                  <c:v>584.6728325016627</c:v>
                </c:pt>
                <c:pt idx="73">
                  <c:v>595.42457122030794</c:v>
                </c:pt>
                <c:pt idx="74">
                  <c:v>606.298099125370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465.69450591495428</c:v>
                </c:pt>
                <c:pt idx="50">
                  <c:v>485.29598178218561</c:v>
                </c:pt>
                <c:pt idx="51">
                  <c:v>505.59020295496089</c:v>
                </c:pt>
                <c:pt idx="52">
                  <c:v>526.59652234094006</c:v>
                </c:pt>
                <c:pt idx="53">
                  <c:v>548.33470294630422</c:v>
                </c:pt>
                <c:pt idx="54">
                  <c:v>570.82481223542061</c:v>
                </c:pt>
                <c:pt idx="55">
                  <c:v>594.08700689511943</c:v>
                </c:pt>
                <c:pt idx="56">
                  <c:v>618.14151501278252</c:v>
                </c:pt>
                <c:pt idx="57">
                  <c:v>643.00864757063187</c:v>
                </c:pt>
                <c:pt idx="58">
                  <c:v>668.71585715583149</c:v>
                </c:pt>
                <c:pt idx="59">
                  <c:v>695.29152377601758</c:v>
                </c:pt>
                <c:pt idx="60">
                  <c:v>722.76498618999699</c:v>
                </c:pt>
                <c:pt idx="61">
                  <c:v>751.16657429687905</c:v>
                </c:pt>
                <c:pt idx="62">
                  <c:v>780.52764261939717</c:v>
                </c:pt>
                <c:pt idx="63">
                  <c:v>810.88060491838519</c:v>
                </c:pt>
                <c:pt idx="64">
                  <c:v>842.25896997662142</c:v>
                </c:pt>
                <c:pt idx="65">
                  <c:v>874.69737859154486</c:v>
                </c:pt>
                <c:pt idx="66">
                  <c:v>908.23164181768266</c:v>
                </c:pt>
                <c:pt idx="67">
                  <c:v>942.89878050100708</c:v>
                </c:pt>
                <c:pt idx="68">
                  <c:v>978.73706614886692</c:v>
                </c:pt>
                <c:pt idx="69">
                  <c:v>1015.7860631806125</c:v>
                </c:pt>
                <c:pt idx="70">
                  <c:v>1054.0866726055574</c:v>
                </c:pt>
                <c:pt idx="71">
                  <c:v>1093.6811771764972</c:v>
                </c:pt>
                <c:pt idx="72">
                  <c:v>1134.6132880686314</c:v>
                </c:pt>
                <c:pt idx="73">
                  <c:v>1176.9281931354233</c:v>
                </c:pt>
                <c:pt idx="74">
                  <c:v>1220.67260679466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761.99317087666952</c:v>
                </c:pt>
                <c:pt idx="50">
                  <c:v>821.97580033493875</c:v>
                </c:pt>
                <c:pt idx="51">
                  <c:v>886.32891506367014</c:v>
                </c:pt>
                <c:pt idx="52">
                  <c:v>957.029713986861</c:v>
                </c:pt>
                <c:pt idx="53">
                  <c:v>1035.5638648695319</c:v>
                </c:pt>
                <c:pt idx="54">
                  <c:v>1121.985124085563</c:v>
                </c:pt>
                <c:pt idx="55">
                  <c:v>1215.1282252083911</c:v>
                </c:pt>
                <c:pt idx="56">
                  <c:v>1315.5749741198299</c:v>
                </c:pt>
                <c:pt idx="57">
                  <c:v>1427.3431691532096</c:v>
                </c:pt>
                <c:pt idx="58">
                  <c:v>1548.7455518993343</c:v>
                </c:pt>
                <c:pt idx="59">
                  <c:v>1680.7875901009847</c:v>
                </c:pt>
                <c:pt idx="60">
                  <c:v>1823.8325860428449</c:v>
                </c:pt>
                <c:pt idx="61">
                  <c:v>1976.6765960615921</c:v>
                </c:pt>
                <c:pt idx="62">
                  <c:v>2136.2081560838092</c:v>
                </c:pt>
                <c:pt idx="63">
                  <c:v>2297.1496042405743</c:v>
                </c:pt>
                <c:pt idx="64">
                  <c:v>2458.2768513374153</c:v>
                </c:pt>
                <c:pt idx="65">
                  <c:v>2620.8080727912429</c:v>
                </c:pt>
                <c:pt idx="66">
                  <c:v>2781.2865958437333</c:v>
                </c:pt>
                <c:pt idx="67">
                  <c:v>2938.0555242097289</c:v>
                </c:pt>
                <c:pt idx="68">
                  <c:v>3091.3816487350678</c:v>
                </c:pt>
                <c:pt idx="69">
                  <c:v>3240.686736023305</c:v>
                </c:pt>
                <c:pt idx="70">
                  <c:v>3385.2864164972461</c:v>
                </c:pt>
                <c:pt idx="71">
                  <c:v>3525.5279725535829</c:v>
                </c:pt>
                <c:pt idx="72">
                  <c:v>3661.0242454996919</c:v>
                </c:pt>
                <c:pt idx="73">
                  <c:v>3790.8432883474497</c:v>
                </c:pt>
                <c:pt idx="74">
                  <c:v>3915.64388891671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12</c:v>
                </c:pt>
                <c:pt idx="1">
                  <c:v>14</c:v>
                </c:pt>
                <c:pt idx="2">
                  <c:v>14</c:v>
                </c:pt>
                <c:pt idx="3">
                  <c:v>16</c:v>
                </c:pt>
                <c:pt idx="4">
                  <c:v>16</c:v>
                </c:pt>
                <c:pt idx="5">
                  <c:v>23</c:v>
                </c:pt>
                <c:pt idx="6">
                  <c:v>26</c:v>
                </c:pt>
                <c:pt idx="7">
                  <c:v>24</c:v>
                </c:pt>
                <c:pt idx="8">
                  <c:v>22</c:v>
                </c:pt>
                <c:pt idx="9">
                  <c:v>24</c:v>
                </c:pt>
                <c:pt idx="10">
                  <c:v>27</c:v>
                </c:pt>
                <c:pt idx="11">
                  <c:v>31</c:v>
                </c:pt>
                <c:pt idx="12">
                  <c:v>35</c:v>
                </c:pt>
                <c:pt idx="13">
                  <c:v>41</c:v>
                </c:pt>
                <c:pt idx="14">
                  <c:v>38</c:v>
                </c:pt>
                <c:pt idx="15">
                  <c:v>43</c:v>
                </c:pt>
                <c:pt idx="16">
                  <c:v>46</c:v>
                </c:pt>
                <c:pt idx="17">
                  <c:v>43</c:v>
                </c:pt>
                <c:pt idx="18">
                  <c:v>40</c:v>
                </c:pt>
                <c:pt idx="19">
                  <c:v>42</c:v>
                </c:pt>
                <c:pt idx="20">
                  <c:v>40</c:v>
                </c:pt>
                <c:pt idx="21">
                  <c:v>38</c:v>
                </c:pt>
                <c:pt idx="22">
                  <c:v>38</c:v>
                </c:pt>
                <c:pt idx="23">
                  <c:v>42</c:v>
                </c:pt>
                <c:pt idx="24">
                  <c:v>46</c:v>
                </c:pt>
                <c:pt idx="25">
                  <c:v>45</c:v>
                </c:pt>
                <c:pt idx="26">
                  <c:v>49</c:v>
                </c:pt>
                <c:pt idx="27">
                  <c:v>53</c:v>
                </c:pt>
                <c:pt idx="28">
                  <c:v>51</c:v>
                </c:pt>
                <c:pt idx="29">
                  <c:v>50</c:v>
                </c:pt>
                <c:pt idx="30">
                  <c:v>45</c:v>
                </c:pt>
                <c:pt idx="31">
                  <c:v>44</c:v>
                </c:pt>
                <c:pt idx="32">
                  <c:v>52</c:v>
                </c:pt>
                <c:pt idx="33">
                  <c:v>58</c:v>
                </c:pt>
                <c:pt idx="34">
                  <c:v>72</c:v>
                </c:pt>
                <c:pt idx="35">
                  <c:v>86</c:v>
                </c:pt>
                <c:pt idx="36">
                  <c:v>75</c:v>
                </c:pt>
                <c:pt idx="37">
                  <c:v>78</c:v>
                </c:pt>
                <c:pt idx="38">
                  <c:v>77</c:v>
                </c:pt>
                <c:pt idx="39">
                  <c:v>77</c:v>
                </c:pt>
                <c:pt idx="40">
                  <c:v>99</c:v>
                </c:pt>
                <c:pt idx="41">
                  <c:v>113</c:v>
                </c:pt>
                <c:pt idx="42">
                  <c:v>114</c:v>
                </c:pt>
                <c:pt idx="43">
                  <c:v>116</c:v>
                </c:pt>
                <c:pt idx="44">
                  <c:v>115</c:v>
                </c:pt>
                <c:pt idx="45">
                  <c:v>112</c:v>
                </c:pt>
                <c:pt idx="46">
                  <c:v>116</c:v>
                </c:pt>
                <c:pt idx="47">
                  <c:v>133</c:v>
                </c:pt>
                <c:pt idx="48">
                  <c:v>146</c:v>
                </c:pt>
                <c:pt idx="49">
                  <c:v>139</c:v>
                </c:pt>
                <c:pt idx="50">
                  <c:v>143</c:v>
                </c:pt>
                <c:pt idx="51">
                  <c:v>153</c:v>
                </c:pt>
                <c:pt idx="52">
                  <c:v>151</c:v>
                </c:pt>
                <c:pt idx="53">
                  <c:v>163</c:v>
                </c:pt>
                <c:pt idx="54">
                  <c:v>171</c:v>
                </c:pt>
                <c:pt idx="55">
                  <c:v>193</c:v>
                </c:pt>
                <c:pt idx="56">
                  <c:v>214</c:v>
                </c:pt>
                <c:pt idx="57">
                  <c:v>208</c:v>
                </c:pt>
                <c:pt idx="58">
                  <c:v>237</c:v>
                </c:pt>
                <c:pt idx="59">
                  <c:v>239</c:v>
                </c:pt>
                <c:pt idx="60">
                  <c:v>268</c:v>
                </c:pt>
                <c:pt idx="61">
                  <c:v>312</c:v>
                </c:pt>
                <c:pt idx="62">
                  <c:v>317</c:v>
                </c:pt>
                <c:pt idx="63">
                  <c:v>345</c:v>
                </c:pt>
                <c:pt idx="64">
                  <c:v>342</c:v>
                </c:pt>
                <c:pt idx="65">
                  <c:v>376</c:v>
                </c:pt>
                <c:pt idx="66">
                  <c:v>386</c:v>
                </c:pt>
                <c:pt idx="67">
                  <c:v>419</c:v>
                </c:pt>
                <c:pt idx="68">
                  <c:v>4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63.013535765110404</c:v>
                </c:pt>
                <c:pt idx="50">
                  <c:v>63.238591550741219</c:v>
                </c:pt>
                <c:pt idx="51">
                  <c:v>63.429461423676926</c:v>
                </c:pt>
                <c:pt idx="52">
                  <c:v>63.591588589058759</c:v>
                </c:pt>
                <c:pt idx="53">
                  <c:v>63.729897498090793</c:v>
                </c:pt>
                <c:pt idx="54">
                  <c:v>63.848213842117516</c:v>
                </c:pt>
                <c:pt idx="55">
                  <c:v>63.949441620981574</c:v>
                </c:pt>
                <c:pt idx="56">
                  <c:v>64.036020590188542</c:v>
                </c:pt>
                <c:pt idx="57">
                  <c:v>64.109785678235227</c:v>
                </c:pt>
                <c:pt idx="58">
                  <c:v>64.172633368203989</c:v>
                </c:pt>
                <c:pt idx="59">
                  <c:v>64.226179459437688</c:v>
                </c:pt>
                <c:pt idx="60">
                  <c:v>64.271800609361136</c:v>
                </c:pt>
                <c:pt idx="61">
                  <c:v>64.310669727020056</c:v>
                </c:pt>
                <c:pt idx="62">
                  <c:v>64.343786128297054</c:v>
                </c:pt>
                <c:pt idx="63">
                  <c:v>64.37200122808818</c:v>
                </c:pt>
                <c:pt idx="64">
                  <c:v>64.396040429979848</c:v>
                </c:pt>
                <c:pt idx="65">
                  <c:v>64.416521776204618</c:v>
                </c:pt>
                <c:pt idx="66">
                  <c:v>64.433971837361781</c:v>
                </c:pt>
                <c:pt idx="67">
                  <c:v>64.448839250423745</c:v>
                </c:pt>
                <c:pt idx="68">
                  <c:v>64.461506253087194</c:v>
                </c:pt>
                <c:pt idx="69">
                  <c:v>64.472298511014458</c:v>
                </c:pt>
                <c:pt idx="70">
                  <c:v>64.481493490621176</c:v>
                </c:pt>
                <c:pt idx="71">
                  <c:v>64.489327592672652</c:v>
                </c:pt>
                <c:pt idx="72">
                  <c:v>64.496002230091975</c:v>
                </c:pt>
                <c:pt idx="73">
                  <c:v>64.501689006238962</c:v>
                </c:pt>
                <c:pt idx="74">
                  <c:v>64.5065341267922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77.92845870150758</c:v>
                </c:pt>
                <c:pt idx="50">
                  <c:v>79.739455753279827</c:v>
                </c:pt>
                <c:pt idx="51">
                  <c:v>81.565031281366572</c:v>
                </c:pt>
                <c:pt idx="52">
                  <c:v>83.407320023933465</c:v>
                </c:pt>
                <c:pt idx="53">
                  <c:v>85.267986439288251</c:v>
                </c:pt>
                <c:pt idx="54">
                  <c:v>87.148354125801561</c:v>
                </c:pt>
                <c:pt idx="55">
                  <c:v>89.049305780970514</c:v>
                </c:pt>
                <c:pt idx="56">
                  <c:v>90.971493063567678</c:v>
                </c:pt>
                <c:pt idx="57">
                  <c:v>92.915453719887509</c:v>
                </c:pt>
                <c:pt idx="58">
                  <c:v>94.881434385524557</c:v>
                </c:pt>
                <c:pt idx="59">
                  <c:v>96.869684489812045</c:v>
                </c:pt>
                <c:pt idx="60">
                  <c:v>98.880456287467666</c:v>
                </c:pt>
                <c:pt idx="61">
                  <c:v>100.91400489059782</c:v>
                </c:pt>
                <c:pt idx="62">
                  <c:v>102.9705883010644</c:v>
                </c:pt>
                <c:pt idx="63">
                  <c:v>105.05046744321815</c:v>
                </c:pt>
                <c:pt idx="64">
                  <c:v>107.15390619700293</c:v>
                </c:pt>
                <c:pt idx="65">
                  <c:v>109.28117143143479</c:v>
                </c:pt>
                <c:pt idx="66">
                  <c:v>111.43253303846043</c:v>
                </c:pt>
                <c:pt idx="67">
                  <c:v>113.60826396719914</c:v>
                </c:pt>
                <c:pt idx="68">
                  <c:v>115.80864025857251</c:v>
                </c:pt>
                <c:pt idx="69">
                  <c:v>118.03394108032661</c:v>
                </c:pt>
                <c:pt idx="70">
                  <c:v>120.28444876245071</c:v>
                </c:pt>
                <c:pt idx="71">
                  <c:v>122.56044883299722</c:v>
                </c:pt>
                <c:pt idx="72">
                  <c:v>124.86223005430749</c:v>
                </c:pt>
                <c:pt idx="73">
                  <c:v>127.19008445964781</c:v>
                </c:pt>
                <c:pt idx="74">
                  <c:v>129.544307390260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99.102282855760137</c:v>
                </c:pt>
                <c:pt idx="50">
                  <c:v>103.34619011046043</c:v>
                </c:pt>
                <c:pt idx="51">
                  <c:v>107.74008335844871</c:v>
                </c:pt>
                <c:pt idx="52">
                  <c:v>112.28815268958219</c:v>
                </c:pt>
                <c:pt idx="53">
                  <c:v>116.99467698397557</c:v>
                </c:pt>
                <c:pt idx="54">
                  <c:v>121.86400103985673</c:v>
                </c:pt>
                <c:pt idx="55">
                  <c:v>126.90048897297123</c:v>
                </c:pt>
                <c:pt idx="56">
                  <c:v>132.10852035796799</c:v>
                </c:pt>
                <c:pt idx="57">
                  <c:v>137.49249271702266</c:v>
                </c:pt>
                <c:pt idx="58">
                  <c:v>143.05834979817823</c:v>
                </c:pt>
                <c:pt idx="59">
                  <c:v>148.81223614489213</c:v>
                </c:pt>
                <c:pt idx="60">
                  <c:v>154.76050387943246</c:v>
                </c:pt>
                <c:pt idx="61">
                  <c:v>160.9097197154353</c:v>
                </c:pt>
                <c:pt idx="62">
                  <c:v>167.26667220736448</c:v>
                </c:pt>
                <c:pt idx="63">
                  <c:v>173.83837924487722</c:v>
                </c:pt>
                <c:pt idx="64">
                  <c:v>180.63209580036906</c:v>
                </c:pt>
                <c:pt idx="65">
                  <c:v>187.65532193825126</c:v>
                </c:pt>
                <c:pt idx="66">
                  <c:v>194.91581109480259</c:v>
                </c:pt>
                <c:pt idx="67">
                  <c:v>202.42157863773625</c:v>
                </c:pt>
                <c:pt idx="68">
                  <c:v>210.1809107149314</c:v>
                </c:pt>
                <c:pt idx="69">
                  <c:v>218.20237340209817</c:v>
                </c:pt>
                <c:pt idx="70">
                  <c:v>226.49482215947469</c:v>
                </c:pt>
                <c:pt idx="71">
                  <c:v>235.06741160799626</c:v>
                </c:pt>
                <c:pt idx="72">
                  <c:v>243.92960563572916</c:v>
                </c:pt>
                <c:pt idx="73">
                  <c:v>253.09118784572632</c:v>
                </c:pt>
                <c:pt idx="74">
                  <c:v>262.5622723568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148.60536267506225</c:v>
                </c:pt>
                <c:pt idx="50">
                  <c:v>162.15505356669482</c:v>
                </c:pt>
                <c:pt idx="51">
                  <c:v>176.89057358412362</c:v>
                </c:pt>
                <c:pt idx="52">
                  <c:v>193.86221563992714</c:v>
                </c:pt>
                <c:pt idx="53">
                  <c:v>212.05095839544327</c:v>
                </c:pt>
                <c:pt idx="54">
                  <c:v>231.25377899268108</c:v>
                </c:pt>
                <c:pt idx="55">
                  <c:v>252.13620000782822</c:v>
                </c:pt>
                <c:pt idx="56">
                  <c:v>275.50881486402591</c:v>
                </c:pt>
                <c:pt idx="57">
                  <c:v>300.70709479140015</c:v>
                </c:pt>
                <c:pt idx="58">
                  <c:v>328.33328512922179</c:v>
                </c:pt>
                <c:pt idx="59">
                  <c:v>357.57064110531019</c:v>
                </c:pt>
                <c:pt idx="60">
                  <c:v>389.34556922622573</c:v>
                </c:pt>
                <c:pt idx="61">
                  <c:v>422.81166775439448</c:v>
                </c:pt>
                <c:pt idx="62">
                  <c:v>457.67944972688412</c:v>
                </c:pt>
                <c:pt idx="63">
                  <c:v>494.14781283013025</c:v>
                </c:pt>
                <c:pt idx="64">
                  <c:v>530.68328138338791</c:v>
                </c:pt>
                <c:pt idx="65">
                  <c:v>567.90589254645135</c:v>
                </c:pt>
                <c:pt idx="66">
                  <c:v>604.50024234800242</c:v>
                </c:pt>
                <c:pt idx="67">
                  <c:v>641.14990093332904</c:v>
                </c:pt>
                <c:pt idx="68">
                  <c:v>677.17251498938504</c:v>
                </c:pt>
                <c:pt idx="69">
                  <c:v>712.86766703730848</c:v>
                </c:pt>
                <c:pt idx="70">
                  <c:v>747.68775720968927</c:v>
                </c:pt>
                <c:pt idx="71">
                  <c:v>781.33775236237955</c:v>
                </c:pt>
                <c:pt idx="72">
                  <c:v>814.22112885678837</c:v>
                </c:pt>
                <c:pt idx="73">
                  <c:v>845.98228690641599</c:v>
                </c:pt>
                <c:pt idx="74">
                  <c:v>876.50591223405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10.11.2021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0.11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568128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788066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9538782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672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Relationship Id="rId9" Type="http://schemas.openxmlformats.org/officeDocument/2006/relationships/chart" Target="../charts/chart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10" Type="http://schemas.openxmlformats.org/officeDocument/2006/relationships/chart" Target="../charts/chart5.xml"/><Relationship Id="rId4" Type="http://schemas.openxmlformats.org/officeDocument/2006/relationships/tags" Target="../tags/tag20.xml"/><Relationship Id="rId9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chart" Target="../charts/chart1.xml"/><Relationship Id="rId4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chart" Target="../charts/chart2.xml"/><Relationship Id="rId4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chart" Target="../charts/chart3.xml"/><Relationship Id="rId4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 smtClean="0"/>
              <a:t>10</a:t>
            </a:r>
            <a:r>
              <a:rPr lang="cs-CZ" b="1" dirty="0" smtClean="0"/>
              <a:t>. </a:t>
            </a:r>
            <a:r>
              <a:rPr lang="cs-CZ" b="1" dirty="0" smtClean="0"/>
              <a:t>listopadu 2021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06/2021–09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/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pSp>
        <p:nvGrpSpPr>
          <p:cNvPr id="27" name="Skupina 26">
            <a:extLst>
              <a:ext uri="{FF2B5EF4-FFF2-40B4-BE49-F238E27FC236}">
                <a16:creationId xmlns:a16="http://schemas.microsoft.com/office/drawing/2014/main" id="{67DAC38C-49B3-4183-86EE-FA96D2C3343F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E1145F19-9A7D-4405-B30F-609B477EF3A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70F7A715-DE2D-47FA-B935-5C97DBE86D3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C0CD1195-42E6-4992-B39E-DF5431C6551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1" name="Obdélník 30">
              <a:extLst>
                <a:ext uri="{FF2B5EF4-FFF2-40B4-BE49-F238E27FC236}">
                  <a16:creationId xmlns:a16="http://schemas.microsoft.com/office/drawing/2014/main" id="{ED449F8E-85D3-423B-9C30-0A45277B4768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2" name="TextovéPole 28">
              <a:extLst>
                <a:ext uri="{FF2B5EF4-FFF2-40B4-BE49-F238E27FC236}">
                  <a16:creationId xmlns:a16="http://schemas.microsoft.com/office/drawing/2014/main" id="{F05ED1BE-B1E8-45BF-942B-03FC62FAA3B5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167DD106-FA41-45E1-9690-009F1C865C2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graphicFrame>
        <p:nvGraphicFramePr>
          <p:cNvPr id="19" name="Tabulka 6">
            <a:extLst>
              <a:ext uri="{FF2B5EF4-FFF2-40B4-BE49-F238E27FC236}">
                <a16:creationId xmlns:a16="http://schemas.microsoft.com/office/drawing/2014/main" id="{52BE54AB-8483-4849-B922-76ADABD0F239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 44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04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28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07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 3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15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5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35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0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16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5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5 591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53109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/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F4D3CE41-9826-4EF5-AC14-D66285966B0D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A982C967-38E9-4959-8A25-252E58E3EFFC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D6B2E011-5906-41C9-A178-4347F6CF902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4DAAB671-042B-4AB1-9C51-FC0B4B01126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9302E574-19AF-4F44-9D4F-F5F97B464BA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308A78F6-14EF-42C0-B719-4A620555AFB9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45AD4C16-E549-4E7E-8C7E-306B9664500F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27270502-7CC0-4A8E-BC3B-48F51D41527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31E709B2-7029-4085-AD53-5B7C79253DF6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7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 144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35094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966003" y="2798855"/>
            <a:ext cx="292330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akutní lůžka C+ pacienty k </a:t>
            </a:r>
          </a:p>
          <a:p>
            <a:pPr algn="ctr"/>
            <a:r>
              <a:rPr lang="cs-CZ" b="1" dirty="0" smtClean="0"/>
              <a:t>10.11.2021 00:35</a:t>
            </a:r>
            <a:endParaRPr lang="cs-CZ" b="1" dirty="0" smtClean="0"/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462</a:t>
            </a:r>
            <a:endParaRPr lang="cs-CZ" b="1" dirty="0" smtClean="0"/>
          </a:p>
          <a:p>
            <a:pPr algn="ctr"/>
            <a:endParaRPr lang="cs-CZ" sz="2000" b="1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7377100"/>
              </p:ext>
            </p:extLst>
          </p:nvPr>
        </p:nvGraphicFramePr>
        <p:xfrm>
          <a:off x="265008" y="1032746"/>
          <a:ext cx="9687884" cy="5317321"/>
        </p:xfrm>
        <a:graphic>
          <a:graphicData uri="http://schemas.openxmlformats.org/drawingml/2006/table">
            <a:tbl>
              <a:tblPr/>
              <a:tblGrid>
                <a:gridCol w="2149612">
                  <a:extLst>
                    <a:ext uri="{9D8B030D-6E8A-4147-A177-3AD203B41FA5}">
                      <a16:colId xmlns:a16="http://schemas.microsoft.com/office/drawing/2014/main" val="296864152"/>
                    </a:ext>
                  </a:extLst>
                </a:gridCol>
                <a:gridCol w="1316090">
                  <a:extLst>
                    <a:ext uri="{9D8B030D-6E8A-4147-A177-3AD203B41FA5}">
                      <a16:colId xmlns:a16="http://schemas.microsoft.com/office/drawing/2014/main" val="3931451001"/>
                    </a:ext>
                  </a:extLst>
                </a:gridCol>
                <a:gridCol w="1217384">
                  <a:extLst>
                    <a:ext uri="{9D8B030D-6E8A-4147-A177-3AD203B41FA5}">
                      <a16:colId xmlns:a16="http://schemas.microsoft.com/office/drawing/2014/main" val="4046665532"/>
                    </a:ext>
                  </a:extLst>
                </a:gridCol>
                <a:gridCol w="1213728">
                  <a:extLst>
                    <a:ext uri="{9D8B030D-6E8A-4147-A177-3AD203B41FA5}">
                      <a16:colId xmlns:a16="http://schemas.microsoft.com/office/drawing/2014/main" val="2700910537"/>
                    </a:ext>
                  </a:extLst>
                </a:gridCol>
                <a:gridCol w="1257598">
                  <a:extLst>
                    <a:ext uri="{9D8B030D-6E8A-4147-A177-3AD203B41FA5}">
                      <a16:colId xmlns:a16="http://schemas.microsoft.com/office/drawing/2014/main" val="3979667100"/>
                    </a:ext>
                  </a:extLst>
                </a:gridCol>
                <a:gridCol w="1261253">
                  <a:extLst>
                    <a:ext uri="{9D8B030D-6E8A-4147-A177-3AD203B41FA5}">
                      <a16:colId xmlns:a16="http://schemas.microsoft.com/office/drawing/2014/main" val="941337345"/>
                    </a:ext>
                  </a:extLst>
                </a:gridCol>
                <a:gridCol w="1272219">
                  <a:extLst>
                    <a:ext uri="{9D8B030D-6E8A-4147-A177-3AD203B41FA5}">
                      <a16:colId xmlns:a16="http://schemas.microsoft.com/office/drawing/2014/main" val="4127170527"/>
                    </a:ext>
                  </a:extLst>
                </a:gridCol>
              </a:tblGrid>
              <a:tr h="170976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oddělení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1210611"/>
                  </a:ext>
                </a:extLst>
              </a:tr>
              <a:tr h="170976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10.11. 2021, 12:00 h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9449193"/>
                  </a:ext>
                </a:extLst>
              </a:tr>
              <a:tr h="142887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2232215"/>
                  </a:ext>
                </a:extLst>
              </a:tr>
              <a:tr h="15876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90253165"/>
                  </a:ext>
                </a:extLst>
              </a:tr>
              <a:tr h="616735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4325228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5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1714477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0158569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715769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414736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9140268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1167365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86985861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2059997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86851418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503176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60266722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82386116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7348157"/>
                  </a:ext>
                </a:extLst>
              </a:tr>
              <a:tr h="1648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9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3992102"/>
                  </a:ext>
                </a:extLst>
              </a:tr>
              <a:tr h="1587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90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7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6646594"/>
                  </a:ext>
                </a:extLst>
              </a:tr>
              <a:tr h="207614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5017576"/>
                  </a:ext>
                </a:extLst>
              </a:tr>
              <a:tr h="142887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58241426"/>
                  </a:ext>
                </a:extLst>
              </a:tr>
              <a:tr h="13351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5003034"/>
                  </a:ext>
                </a:extLst>
              </a:tr>
              <a:tr h="152657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x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444832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9001173" y="3130491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4607252"/>
              </p:ext>
            </p:extLst>
          </p:nvPr>
        </p:nvGraphicFramePr>
        <p:xfrm>
          <a:off x="252992" y="1034315"/>
          <a:ext cx="9638353" cy="5322322"/>
        </p:xfrm>
        <a:graphic>
          <a:graphicData uri="http://schemas.openxmlformats.org/drawingml/2006/table">
            <a:tbl>
              <a:tblPr/>
              <a:tblGrid>
                <a:gridCol w="2138624">
                  <a:extLst>
                    <a:ext uri="{9D8B030D-6E8A-4147-A177-3AD203B41FA5}">
                      <a16:colId xmlns:a16="http://schemas.microsoft.com/office/drawing/2014/main" val="945656205"/>
                    </a:ext>
                  </a:extLst>
                </a:gridCol>
                <a:gridCol w="1309361">
                  <a:extLst>
                    <a:ext uri="{9D8B030D-6E8A-4147-A177-3AD203B41FA5}">
                      <a16:colId xmlns:a16="http://schemas.microsoft.com/office/drawing/2014/main" val="3117069359"/>
                    </a:ext>
                  </a:extLst>
                </a:gridCol>
                <a:gridCol w="1211159">
                  <a:extLst>
                    <a:ext uri="{9D8B030D-6E8A-4147-A177-3AD203B41FA5}">
                      <a16:colId xmlns:a16="http://schemas.microsoft.com/office/drawing/2014/main" val="2517440267"/>
                    </a:ext>
                  </a:extLst>
                </a:gridCol>
                <a:gridCol w="1207522">
                  <a:extLst>
                    <a:ext uri="{9D8B030D-6E8A-4147-A177-3AD203B41FA5}">
                      <a16:colId xmlns:a16="http://schemas.microsoft.com/office/drawing/2014/main" val="2894084082"/>
                    </a:ext>
                  </a:extLst>
                </a:gridCol>
                <a:gridCol w="1251167">
                  <a:extLst>
                    <a:ext uri="{9D8B030D-6E8A-4147-A177-3AD203B41FA5}">
                      <a16:colId xmlns:a16="http://schemas.microsoft.com/office/drawing/2014/main" val="213433668"/>
                    </a:ext>
                  </a:extLst>
                </a:gridCol>
                <a:gridCol w="1254805">
                  <a:extLst>
                    <a:ext uri="{9D8B030D-6E8A-4147-A177-3AD203B41FA5}">
                      <a16:colId xmlns:a16="http://schemas.microsoft.com/office/drawing/2014/main" val="1622624510"/>
                    </a:ext>
                  </a:extLst>
                </a:gridCol>
                <a:gridCol w="1265715">
                  <a:extLst>
                    <a:ext uri="{9D8B030D-6E8A-4147-A177-3AD203B41FA5}">
                      <a16:colId xmlns:a16="http://schemas.microsoft.com/office/drawing/2014/main" val="951258346"/>
                    </a:ext>
                  </a:extLst>
                </a:gridCol>
              </a:tblGrid>
              <a:tr h="164225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oddělení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1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7245581"/>
                  </a:ext>
                </a:extLst>
              </a:tr>
              <a:tr h="172868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10.11. 2021, 12:00 h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2889684"/>
                  </a:ext>
                </a:extLst>
              </a:tr>
              <a:tr h="160520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8986137"/>
                  </a:ext>
                </a:extLst>
              </a:tr>
              <a:tr h="16052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8269376"/>
                  </a:ext>
                </a:extLst>
              </a:tr>
              <a:tr h="62356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4346894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75422962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2749227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52377812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8687820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1193124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47629953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1074887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7820676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240351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178842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6010716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798498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2320944"/>
                  </a:ext>
                </a:extLst>
              </a:tr>
              <a:tr h="1605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63484204"/>
                  </a:ext>
                </a:extLst>
              </a:tr>
              <a:tr h="166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7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48526804"/>
                  </a:ext>
                </a:extLst>
              </a:tr>
              <a:tr h="154347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27144720"/>
                  </a:ext>
                </a:extLst>
              </a:tr>
              <a:tr h="144468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3259678"/>
                  </a:ext>
                </a:extLst>
              </a:tr>
              <a:tr h="180189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695656"/>
                  </a:ext>
                </a:extLst>
              </a:tr>
              <a:tr h="154347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x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68073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486005" y="2147602"/>
            <a:ext cx="2786020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</a:t>
            </a:r>
            <a:r>
              <a:rPr lang="cs-CZ" b="1" dirty="0" smtClean="0"/>
              <a:t>10.11.2021 00:35</a:t>
            </a:r>
            <a:endParaRPr lang="cs-CZ" b="1" dirty="0" smtClean="0"/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2 </a:t>
            </a:r>
            <a:r>
              <a:rPr lang="cs-CZ" b="1" dirty="0" smtClean="0"/>
              <a:t>833</a:t>
            </a:r>
            <a:endParaRPr lang="cs-CZ" b="1" dirty="0"/>
          </a:p>
          <a:p>
            <a:pPr algn="ctr"/>
            <a:endParaRPr lang="cs-CZ" sz="2000" b="1" dirty="0"/>
          </a:p>
        </p:txBody>
      </p:sp>
      <p:sp>
        <p:nvSpPr>
          <p:cNvPr id="3" name="TextovéPole 2"/>
          <p:cNvSpPr txBox="1"/>
          <p:nvPr/>
        </p:nvSpPr>
        <p:spPr>
          <a:xfrm>
            <a:off x="9645161" y="4001514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1542906"/>
              </p:ext>
            </p:extLst>
          </p:nvPr>
        </p:nvGraphicFramePr>
        <p:xfrm>
          <a:off x="235210" y="1034319"/>
          <a:ext cx="9312341" cy="5303976"/>
        </p:xfrm>
        <a:graphic>
          <a:graphicData uri="http://schemas.openxmlformats.org/drawingml/2006/table">
            <a:tbl>
              <a:tblPr/>
              <a:tblGrid>
                <a:gridCol w="2063950">
                  <a:extLst>
                    <a:ext uri="{9D8B030D-6E8A-4147-A177-3AD203B41FA5}">
                      <a16:colId xmlns:a16="http://schemas.microsoft.com/office/drawing/2014/main" val="152451692"/>
                    </a:ext>
                  </a:extLst>
                </a:gridCol>
                <a:gridCol w="1263640">
                  <a:extLst>
                    <a:ext uri="{9D8B030D-6E8A-4147-A177-3AD203B41FA5}">
                      <a16:colId xmlns:a16="http://schemas.microsoft.com/office/drawing/2014/main" val="1329918109"/>
                    </a:ext>
                  </a:extLst>
                </a:gridCol>
                <a:gridCol w="1168868">
                  <a:extLst>
                    <a:ext uri="{9D8B030D-6E8A-4147-A177-3AD203B41FA5}">
                      <a16:colId xmlns:a16="http://schemas.microsoft.com/office/drawing/2014/main" val="1546420779"/>
                    </a:ext>
                  </a:extLst>
                </a:gridCol>
                <a:gridCol w="1165360">
                  <a:extLst>
                    <a:ext uri="{9D8B030D-6E8A-4147-A177-3AD203B41FA5}">
                      <a16:colId xmlns:a16="http://schemas.microsoft.com/office/drawing/2014/main" val="4258526331"/>
                    </a:ext>
                  </a:extLst>
                </a:gridCol>
                <a:gridCol w="1207481">
                  <a:extLst>
                    <a:ext uri="{9D8B030D-6E8A-4147-A177-3AD203B41FA5}">
                      <a16:colId xmlns:a16="http://schemas.microsoft.com/office/drawing/2014/main" val="4138723527"/>
                    </a:ext>
                  </a:extLst>
                </a:gridCol>
                <a:gridCol w="1221521">
                  <a:extLst>
                    <a:ext uri="{9D8B030D-6E8A-4147-A177-3AD203B41FA5}">
                      <a16:colId xmlns:a16="http://schemas.microsoft.com/office/drawing/2014/main" val="2866211902"/>
                    </a:ext>
                  </a:extLst>
                </a:gridCol>
                <a:gridCol w="1221521">
                  <a:extLst>
                    <a:ext uri="{9D8B030D-6E8A-4147-A177-3AD203B41FA5}">
                      <a16:colId xmlns:a16="http://schemas.microsoft.com/office/drawing/2014/main" val="2520094561"/>
                    </a:ext>
                  </a:extLst>
                </a:gridCol>
              </a:tblGrid>
              <a:tr h="178334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a neinfekční oddělení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762408"/>
                  </a:ext>
                </a:extLst>
              </a:tr>
              <a:tr h="178334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10.11. 2021, 12:00 h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1394572"/>
                  </a:ext>
                </a:extLst>
              </a:tr>
              <a:tr h="16559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3269759"/>
                  </a:ext>
                </a:extLst>
              </a:tr>
              <a:tr h="17833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na Infekčním oddělení s O</a:t>
                      </a:r>
                      <a:r>
                        <a:rPr lang="cs-CZ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517264"/>
                  </a:ext>
                </a:extLst>
              </a:tr>
              <a:tr h="484048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7781706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0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6453939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2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5344687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2728718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8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1958143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9471790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7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1516330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2445348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6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2800035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1280079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5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2479286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7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5354928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4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399384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820745"/>
                  </a:ext>
                </a:extLst>
              </a:tr>
              <a:tr h="1655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1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9298613"/>
                  </a:ext>
                </a:extLst>
              </a:tr>
              <a:tr h="1719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96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6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6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367450"/>
                  </a:ext>
                </a:extLst>
              </a:tr>
              <a:tr h="159226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7554706"/>
                  </a:ext>
                </a:extLst>
              </a:tr>
              <a:tr h="149036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5997933"/>
                  </a:ext>
                </a:extLst>
              </a:tr>
              <a:tr h="198921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6457059"/>
                  </a:ext>
                </a:extLst>
              </a:tr>
              <a:tr h="159226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x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772809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/>
          <a:lstStyle/>
          <a:p>
            <a:r>
              <a:rPr lang="cs-CZ" sz="2800" dirty="0" smtClean="0"/>
              <a:t>Seznam </a:t>
            </a:r>
            <a:r>
              <a:rPr lang="cs-CZ" sz="2800" dirty="0"/>
              <a:t>nemocnic neaktualizovaných déle než 48 h</a:t>
            </a:r>
            <a: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  <a:t/>
            </a:r>
            <a:b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</a:br>
            <a:endParaRPr lang="cs-CZ" sz="2800" dirty="0"/>
          </a:p>
        </p:txBody>
      </p:sp>
      <p:sp>
        <p:nvSpPr>
          <p:cNvPr id="3" name="TextovéPole 2"/>
          <p:cNvSpPr txBox="1"/>
          <p:nvPr/>
        </p:nvSpPr>
        <p:spPr>
          <a:xfrm>
            <a:off x="8945783" y="3190046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</a:rPr>
              <a:t>Údaje jsou aktuální k </a:t>
            </a:r>
            <a:r>
              <a:rPr lang="cs-CZ" dirty="0" smtClean="0">
                <a:solidFill>
                  <a:srgbClr val="FF0000"/>
                </a:solidFill>
              </a:rPr>
              <a:t>10.11.2021 12:00</a:t>
            </a:r>
            <a:endParaRPr lang="cs-CZ" dirty="0">
              <a:solidFill>
                <a:srgbClr val="FF0000"/>
              </a:solidFill>
            </a:endParaRP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8995735"/>
              </p:ext>
            </p:extLst>
          </p:nvPr>
        </p:nvGraphicFramePr>
        <p:xfrm>
          <a:off x="1320310" y="1637512"/>
          <a:ext cx="6390544" cy="3362560"/>
        </p:xfrm>
        <a:graphic>
          <a:graphicData uri="http://schemas.openxmlformats.org/drawingml/2006/table">
            <a:tbl>
              <a:tblPr/>
              <a:tblGrid>
                <a:gridCol w="3878399">
                  <a:extLst>
                    <a:ext uri="{9D8B030D-6E8A-4147-A177-3AD203B41FA5}">
                      <a16:colId xmlns:a16="http://schemas.microsoft.com/office/drawing/2014/main" val="2179594674"/>
                    </a:ext>
                  </a:extLst>
                </a:gridCol>
                <a:gridCol w="705164">
                  <a:extLst>
                    <a:ext uri="{9D8B030D-6E8A-4147-A177-3AD203B41FA5}">
                      <a16:colId xmlns:a16="http://schemas.microsoft.com/office/drawing/2014/main" val="602043726"/>
                    </a:ext>
                  </a:extLst>
                </a:gridCol>
                <a:gridCol w="1806981">
                  <a:extLst>
                    <a:ext uri="{9D8B030D-6E8A-4147-A177-3AD203B41FA5}">
                      <a16:colId xmlns:a16="http://schemas.microsoft.com/office/drawing/2014/main" val="1103589038"/>
                    </a:ext>
                  </a:extLst>
                </a:gridCol>
              </a:tblGrid>
              <a:tr h="38883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ktualizac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6963784"/>
                  </a:ext>
                </a:extLst>
              </a:tr>
              <a:tr h="470581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N Náchod a.s., Nemocnice Rychnov nad Kněžnou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 9:09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0576905"/>
                  </a:ext>
                </a:extLst>
              </a:tr>
              <a:tr h="40651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Třinec, příspěvková organizac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 13:36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5543483"/>
                  </a:ext>
                </a:extLst>
              </a:tr>
              <a:tr h="40651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tská nemocnice Čáslav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1.2021 5:09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2235079"/>
                  </a:ext>
                </a:extLst>
              </a:tr>
              <a:tr h="470581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trakonice, a.s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1.2021 6:02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8836549"/>
                  </a:ext>
                </a:extLst>
              </a:tr>
              <a:tr h="40651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vní privátní chirurgické centrum, spol. s r.o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1.2021 7:21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265410"/>
                  </a:ext>
                </a:extLst>
              </a:tr>
              <a:tr h="40651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av hematologie a krevní transfuz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1.2021 8:46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1832727"/>
                  </a:ext>
                </a:extLst>
              </a:tr>
              <a:tr h="40651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Říčany a.s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1.2021 8:57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36695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2688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 smtClean="0"/>
              <a:t>Podíl</a:t>
            </a:r>
            <a:r>
              <a:rPr lang="en-US" dirty="0" smtClean="0"/>
              <a:t>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JIP</a:t>
            </a:r>
            <a:endParaRPr lang="cs-CZ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6921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JIP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9864969" y="3112192"/>
            <a:ext cx="188155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</a:rPr>
              <a:t>Údaje jsou aktuální k </a:t>
            </a:r>
            <a:r>
              <a:rPr lang="cs-CZ" dirty="0" smtClean="0">
                <a:solidFill>
                  <a:srgbClr val="FF0000"/>
                </a:solidFill>
              </a:rPr>
              <a:t>9.11.2021 0:33</a:t>
            </a:r>
            <a:endParaRPr lang="cs-CZ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9774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 smtClean="0"/>
              <a:t>Podíl</a:t>
            </a:r>
            <a:r>
              <a:rPr lang="en-US" dirty="0" smtClean="0"/>
              <a:t>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UPV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7237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cs-CZ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PV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9864969" y="3112192"/>
            <a:ext cx="188155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</a:rPr>
              <a:t>Údaje jsou aktuální k </a:t>
            </a:r>
            <a:r>
              <a:rPr lang="cs-CZ" dirty="0" smtClean="0">
                <a:solidFill>
                  <a:srgbClr val="FF0000"/>
                </a:solidFill>
              </a:rPr>
              <a:t>9.11.2021 0:33</a:t>
            </a:r>
            <a:endParaRPr lang="cs-CZ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4353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</a:t>
            </a:r>
            <a:r>
              <a:rPr lang="en-US" dirty="0" err="1" smtClean="0"/>
              <a:t>volné</a:t>
            </a:r>
            <a:r>
              <a:rPr lang="en-US" dirty="0" smtClean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standartních lůžek s kyslíkem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58086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cs-CZ" dirty="0"/>
              <a:t>lůžek s kyslíkem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6" name="TextovéPole 5"/>
          <p:cNvSpPr txBox="1"/>
          <p:nvPr/>
        </p:nvSpPr>
        <p:spPr>
          <a:xfrm>
            <a:off x="9864969" y="3112192"/>
            <a:ext cx="188155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</a:rPr>
              <a:t>Údaje jsou aktuální k </a:t>
            </a:r>
            <a:r>
              <a:rPr lang="cs-CZ" dirty="0" smtClean="0">
                <a:solidFill>
                  <a:srgbClr val="FF0000"/>
                </a:solidFill>
              </a:rPr>
              <a:t>9.11.2021 0:33</a:t>
            </a:r>
            <a:endParaRPr lang="cs-CZ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11897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/>
          <a:lstStyle/>
          <a:p>
            <a:r>
              <a:rPr lang="cs-CZ" dirty="0"/>
              <a:t>Risk </a:t>
            </a:r>
            <a:r>
              <a:rPr lang="cs-CZ" dirty="0" err="1"/>
              <a:t>mapping</a:t>
            </a:r>
            <a: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  <a:t/>
            </a:r>
            <a:b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</a:br>
            <a:endParaRPr lang="cs-CZ" sz="2800" dirty="0"/>
          </a:p>
        </p:txBody>
      </p:sp>
      <p:sp>
        <p:nvSpPr>
          <p:cNvPr id="3" name="TextovéPole 2"/>
          <p:cNvSpPr txBox="1"/>
          <p:nvPr/>
        </p:nvSpPr>
        <p:spPr>
          <a:xfrm>
            <a:off x="10446657" y="3112192"/>
            <a:ext cx="124711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</a:rPr>
              <a:t>Údaje jsou aktuální k </a:t>
            </a:r>
            <a:r>
              <a:rPr lang="cs-CZ" dirty="0" smtClean="0">
                <a:solidFill>
                  <a:srgbClr val="FF0000"/>
                </a:solidFill>
              </a:rPr>
              <a:t>9.11.2021 0:33</a:t>
            </a:r>
            <a:endParaRPr lang="cs-CZ" dirty="0">
              <a:solidFill>
                <a:srgbClr val="FF0000"/>
              </a:solidFill>
            </a:endParaRPr>
          </a:p>
        </p:txBody>
      </p:sp>
      <p:sp>
        <p:nvSpPr>
          <p:cNvPr id="4" name="TextovéPole 3"/>
          <p:cNvSpPr txBox="1"/>
          <p:nvPr/>
        </p:nvSpPr>
        <p:spPr>
          <a:xfrm>
            <a:off x="175952" y="887701"/>
            <a:ext cx="99981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Analýza </a:t>
            </a:r>
            <a:r>
              <a:rPr lang="cs-CZ" dirty="0"/>
              <a:t>aktuálního prevalenčního </a:t>
            </a:r>
            <a:r>
              <a:rPr lang="cs-CZ" dirty="0" smtClean="0"/>
              <a:t>poolu, z kterého se predikuje počet nově hospitalizovaných </a:t>
            </a:r>
            <a:r>
              <a:rPr lang="cs-CZ" dirty="0"/>
              <a:t>s COVID-19 v následujících 10 - 14 </a:t>
            </a:r>
            <a:r>
              <a:rPr lang="cs-CZ" dirty="0" smtClean="0"/>
              <a:t>dnech.</a:t>
            </a:r>
            <a:endParaRPr lang="cs-CZ" dirty="0"/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3157691"/>
              </p:ext>
            </p:extLst>
          </p:nvPr>
        </p:nvGraphicFramePr>
        <p:xfrm>
          <a:off x="288857" y="1534032"/>
          <a:ext cx="9935900" cy="4824171"/>
        </p:xfrm>
        <a:graphic>
          <a:graphicData uri="http://schemas.openxmlformats.org/drawingml/2006/table">
            <a:tbl>
              <a:tblPr/>
              <a:tblGrid>
                <a:gridCol w="1389777">
                  <a:extLst>
                    <a:ext uri="{9D8B030D-6E8A-4147-A177-3AD203B41FA5}">
                      <a16:colId xmlns:a16="http://schemas.microsoft.com/office/drawing/2014/main" val="2283760119"/>
                    </a:ext>
                  </a:extLst>
                </a:gridCol>
                <a:gridCol w="940776">
                  <a:extLst>
                    <a:ext uri="{9D8B030D-6E8A-4147-A177-3AD203B41FA5}">
                      <a16:colId xmlns:a16="http://schemas.microsoft.com/office/drawing/2014/main" val="1234803192"/>
                    </a:ext>
                  </a:extLst>
                </a:gridCol>
                <a:gridCol w="1169377">
                  <a:extLst>
                    <a:ext uri="{9D8B030D-6E8A-4147-A177-3AD203B41FA5}">
                      <a16:colId xmlns:a16="http://schemas.microsoft.com/office/drawing/2014/main" val="999224491"/>
                    </a:ext>
                  </a:extLst>
                </a:gridCol>
                <a:gridCol w="1274885">
                  <a:extLst>
                    <a:ext uri="{9D8B030D-6E8A-4147-A177-3AD203B41FA5}">
                      <a16:colId xmlns:a16="http://schemas.microsoft.com/office/drawing/2014/main" val="1145260712"/>
                    </a:ext>
                  </a:extLst>
                </a:gridCol>
                <a:gridCol w="1195754">
                  <a:extLst>
                    <a:ext uri="{9D8B030D-6E8A-4147-A177-3AD203B41FA5}">
                      <a16:colId xmlns:a16="http://schemas.microsoft.com/office/drawing/2014/main" val="1715084651"/>
                    </a:ext>
                  </a:extLst>
                </a:gridCol>
                <a:gridCol w="1195754">
                  <a:extLst>
                    <a:ext uri="{9D8B030D-6E8A-4147-A177-3AD203B41FA5}">
                      <a16:colId xmlns:a16="http://schemas.microsoft.com/office/drawing/2014/main" val="2663827586"/>
                    </a:ext>
                  </a:extLst>
                </a:gridCol>
                <a:gridCol w="2769577">
                  <a:extLst>
                    <a:ext uri="{9D8B030D-6E8A-4147-A177-3AD203B41FA5}">
                      <a16:colId xmlns:a16="http://schemas.microsoft.com/office/drawing/2014/main" val="1182091541"/>
                    </a:ext>
                  </a:extLst>
                </a:gridCol>
              </a:tblGrid>
              <a:tr h="104673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za předchozích 14 dní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65+ za předchozích </a:t>
                      </a:r>
                      <a:r>
                        <a:rPr lang="pl-PL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14 </a:t>
                      </a:r>
                      <a:r>
                        <a:rPr lang="pl-PL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ní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65+ v % nových případů za předchozích </a:t>
                      </a:r>
                      <a:r>
                        <a:rPr lang="cs-CZ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14 </a:t>
                      </a:r>
                      <a:r>
                        <a:rPr lang="cs-CZ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ní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03" marR="9103" marT="91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75+ za předchozích </a:t>
                      </a:r>
                      <a:r>
                        <a:rPr lang="pl-PL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14</a:t>
                      </a:r>
                      <a:r>
                        <a:rPr lang="pl-PL" sz="1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ní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75+ v % nových případů za </a:t>
                      </a:r>
                      <a:r>
                        <a:rPr lang="cs-CZ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dchozích        </a:t>
                      </a: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dní</a:t>
                      </a:r>
                    </a:p>
                  </a:txBody>
                  <a:tcPr marL="9103" marR="9103" marT="91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dhad počtu nově hospitalizovaných z nově pozitivních za posledních 14 dní (do 10 dnů od hodnoceného data, odečteni již hospitalizovaní)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9274775"/>
                  </a:ext>
                </a:extLst>
              </a:tr>
              <a:tr h="251829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848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58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6 %</a:t>
                      </a:r>
                    </a:p>
                  </a:txBody>
                  <a:tcPr marL="9525" marR="9525" marT="9525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3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4 %</a:t>
                      </a:r>
                    </a:p>
                  </a:txBody>
                  <a:tcPr marL="9525" marR="9525" marT="9525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2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136355"/>
                  </a:ext>
                </a:extLst>
              </a:tr>
              <a:tr h="251829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665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1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 %</a:t>
                      </a:r>
                    </a:p>
                  </a:txBody>
                  <a:tcPr marL="9525" marR="9525" marT="9525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8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2 %</a:t>
                      </a:r>
                    </a:p>
                  </a:txBody>
                  <a:tcPr marL="9525" marR="9525" marT="9525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1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1852109"/>
                  </a:ext>
                </a:extLst>
              </a:tr>
              <a:tr h="251829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31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2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7 %</a:t>
                      </a:r>
                    </a:p>
                  </a:txBody>
                  <a:tcPr marL="9525" marR="9525" marT="9525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9 %</a:t>
                      </a:r>
                    </a:p>
                  </a:txBody>
                  <a:tcPr marL="9525" marR="9525" marT="9525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5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8135392"/>
                  </a:ext>
                </a:extLst>
              </a:tr>
              <a:tr h="251829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245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3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 %</a:t>
                      </a:r>
                    </a:p>
                  </a:txBody>
                  <a:tcPr marL="9525" marR="9525" marT="9525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2 %</a:t>
                      </a:r>
                    </a:p>
                  </a:txBody>
                  <a:tcPr marL="9525" marR="9525" marT="9525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9613277"/>
                  </a:ext>
                </a:extLst>
              </a:tr>
              <a:tr h="251829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0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8 %</a:t>
                      </a:r>
                    </a:p>
                  </a:txBody>
                  <a:tcPr marL="9525" marR="9525" marT="9525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3 %</a:t>
                      </a:r>
                    </a:p>
                  </a:txBody>
                  <a:tcPr marL="9525" marR="9525" marT="9525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9550469"/>
                  </a:ext>
                </a:extLst>
              </a:tr>
              <a:tr h="251829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842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4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0 %</a:t>
                      </a:r>
                    </a:p>
                  </a:txBody>
                  <a:tcPr marL="9525" marR="9525" marT="9525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2 %</a:t>
                      </a:r>
                    </a:p>
                  </a:txBody>
                  <a:tcPr marL="9525" marR="9525" marT="9525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5614860"/>
                  </a:ext>
                </a:extLst>
              </a:tr>
              <a:tr h="251829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28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4 %</a:t>
                      </a:r>
                    </a:p>
                  </a:txBody>
                  <a:tcPr marL="9525" marR="9525" marT="9525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3 %</a:t>
                      </a:r>
                    </a:p>
                  </a:txBody>
                  <a:tcPr marL="9525" marR="9525" marT="9525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4459839"/>
                  </a:ext>
                </a:extLst>
              </a:tr>
              <a:tr h="251829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77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4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3 %</a:t>
                      </a:r>
                    </a:p>
                  </a:txBody>
                  <a:tcPr marL="9525" marR="9525" marT="9525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4 %</a:t>
                      </a:r>
                    </a:p>
                  </a:txBody>
                  <a:tcPr marL="9525" marR="9525" marT="9525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5802972"/>
                  </a:ext>
                </a:extLst>
              </a:tr>
              <a:tr h="251829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34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4 %</a:t>
                      </a:r>
                    </a:p>
                  </a:txBody>
                  <a:tcPr marL="9525" marR="9525" marT="9525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 %</a:t>
                      </a:r>
                    </a:p>
                  </a:txBody>
                  <a:tcPr marL="9525" marR="9525" marT="9525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0479038"/>
                  </a:ext>
                </a:extLst>
              </a:tr>
              <a:tr h="251829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88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2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4 %</a:t>
                      </a:r>
                    </a:p>
                  </a:txBody>
                  <a:tcPr marL="9525" marR="9525" marT="9525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3 %</a:t>
                      </a:r>
                    </a:p>
                  </a:txBody>
                  <a:tcPr marL="9525" marR="9525" marT="9525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4906426"/>
                  </a:ext>
                </a:extLst>
              </a:tr>
              <a:tr h="251829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716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11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3 %</a:t>
                      </a:r>
                    </a:p>
                  </a:txBody>
                  <a:tcPr marL="9525" marR="9525" marT="9525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2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8 %</a:t>
                      </a:r>
                    </a:p>
                  </a:txBody>
                  <a:tcPr marL="9525" marR="9525" marT="9525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9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0855839"/>
                  </a:ext>
                </a:extLst>
              </a:tr>
              <a:tr h="251829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372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2 %</a:t>
                      </a:r>
                    </a:p>
                  </a:txBody>
                  <a:tcPr marL="9525" marR="9525" marT="9525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6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 %</a:t>
                      </a:r>
                    </a:p>
                  </a:txBody>
                  <a:tcPr marL="9525" marR="9525" marT="9525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3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7665130"/>
                  </a:ext>
                </a:extLst>
              </a:tr>
              <a:tr h="251829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843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4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9 %</a:t>
                      </a:r>
                    </a:p>
                  </a:txBody>
                  <a:tcPr marL="9525" marR="9525" marT="9525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6 %</a:t>
                      </a:r>
                    </a:p>
                  </a:txBody>
                  <a:tcPr marL="9525" marR="9525" marT="9525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472455"/>
                  </a:ext>
                </a:extLst>
              </a:tr>
              <a:tr h="251829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911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3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 %</a:t>
                      </a:r>
                    </a:p>
                  </a:txBody>
                  <a:tcPr marL="9525" marR="9525" marT="9525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7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3 %</a:t>
                      </a:r>
                    </a:p>
                  </a:txBody>
                  <a:tcPr marL="9525" marR="9525" marT="9525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416366"/>
                  </a:ext>
                </a:extLst>
              </a:tr>
              <a:tr h="251829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686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446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082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2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 975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89131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94922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18579</TotalTime>
  <Words>1342</Words>
  <Application>Microsoft Office PowerPoint</Application>
  <PresentationFormat>Širokoúhlá obrazovka</PresentationFormat>
  <Paragraphs>610</Paragraphs>
  <Slides>11</Slides>
  <Notes>4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11</vt:i4>
      </vt:variant>
    </vt:vector>
  </HeadingPairs>
  <TitlesOfParts>
    <vt:vector size="18" baseType="lpstr">
      <vt:lpstr>Arial</vt:lpstr>
      <vt:lpstr>Arial Black</vt:lpstr>
      <vt:lpstr>Calibri</vt:lpstr>
      <vt:lpstr>Segoe UI</vt:lpstr>
      <vt:lpstr>Times New Roman</vt:lpstr>
      <vt:lpstr>Motiv Office</vt:lpstr>
      <vt:lpstr>1_Motiv Offic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Seznam nemocnic neaktualizovaných déle než 48 h </vt:lpstr>
      <vt:lpstr>Podíl volné aktuálně nahlášené kapacity JIP</vt:lpstr>
      <vt:lpstr>Podíl volné aktuálně nahlášené kapacity UPV</vt:lpstr>
      <vt:lpstr>Podíl volné aktuálně nahlášené kapacity standartních lůžek s kyslíkem</vt:lpstr>
      <vt:lpstr>Risk mapping </vt:lpstr>
      <vt:lpstr>Predikce celkového počtu hospitalizací – aktuální počet léčených </vt:lpstr>
      <vt:lpstr>Predikce počtu pacientů na JIP – aktuální počet případů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Ondřej Růžička</cp:lastModifiedBy>
  <cp:revision>1405</cp:revision>
  <cp:lastPrinted>2020-10-20T04:21:56Z</cp:lastPrinted>
  <dcterms:created xsi:type="dcterms:W3CDTF">2020-07-15T10:33:32Z</dcterms:created>
  <dcterms:modified xsi:type="dcterms:W3CDTF">2021-11-10T11:09:24Z</dcterms:modified>
</cp:coreProperties>
</file>